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73" d="100"/>
          <a:sy n="73" d="100"/>
        </p:scale>
        <p:origin x="97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963225404045333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9</c:f>
              <c:numCache>
                <c:formatCode>m/d/yyyy</c:formatCode>
                <c:ptCount val="21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</c:numCache>
            </c:numRef>
          </c:cat>
          <c:val>
            <c:numRef>
              <c:f>Sheet1!$D$2:$D$219</c:f>
              <c:numCache>
                <c:formatCode>#,##0</c:formatCode>
                <c:ptCount val="218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8</c:v>
                </c:pt>
                <c:pt idx="61">
                  <c:v>573</c:v>
                </c:pt>
                <c:pt idx="62">
                  <c:v>601</c:v>
                </c:pt>
                <c:pt idx="63">
                  <c:v>623</c:v>
                </c:pt>
                <c:pt idx="64">
                  <c:v>602</c:v>
                </c:pt>
                <c:pt idx="65">
                  <c:v>593</c:v>
                </c:pt>
                <c:pt idx="66">
                  <c:v>601</c:v>
                </c:pt>
                <c:pt idx="67">
                  <c:v>582</c:v>
                </c:pt>
                <c:pt idx="68">
                  <c:v>582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9</c:v>
                </c:pt>
                <c:pt idx="101">
                  <c:v>309</c:v>
                </c:pt>
                <c:pt idx="102">
                  <c:v>305</c:v>
                </c:pt>
                <c:pt idx="103">
                  <c:v>303</c:v>
                </c:pt>
                <c:pt idx="104">
                  <c:v>313</c:v>
                </c:pt>
                <c:pt idx="105">
                  <c:v>308</c:v>
                </c:pt>
                <c:pt idx="106">
                  <c:v>313</c:v>
                </c:pt>
                <c:pt idx="107">
                  <c:v>303</c:v>
                </c:pt>
                <c:pt idx="108">
                  <c:v>312</c:v>
                </c:pt>
                <c:pt idx="109">
                  <c:v>306</c:v>
                </c:pt>
                <c:pt idx="110">
                  <c:v>300</c:v>
                </c:pt>
                <c:pt idx="111">
                  <c:v>305</c:v>
                </c:pt>
                <c:pt idx="112">
                  <c:v>318</c:v>
                </c:pt>
                <c:pt idx="113">
                  <c:v>331</c:v>
                </c:pt>
                <c:pt idx="114">
                  <c:v>319</c:v>
                </c:pt>
                <c:pt idx="115">
                  <c:v>330</c:v>
                </c:pt>
                <c:pt idx="116">
                  <c:v>349</c:v>
                </c:pt>
                <c:pt idx="117">
                  <c:v>368</c:v>
                </c:pt>
                <c:pt idx="118">
                  <c:v>390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6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6</c:v>
                </c:pt>
                <c:pt idx="165">
                  <c:v>561</c:v>
                </c:pt>
                <c:pt idx="166">
                  <c:v>580</c:v>
                </c:pt>
                <c:pt idx="167">
                  <c:v>569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5</c:v>
                </c:pt>
                <c:pt idx="172">
                  <c:v>656</c:v>
                </c:pt>
                <c:pt idx="173">
                  <c:v>664</c:v>
                </c:pt>
                <c:pt idx="174">
                  <c:v>682</c:v>
                </c:pt>
                <c:pt idx="175">
                  <c:v>696</c:v>
                </c:pt>
                <c:pt idx="176">
                  <c:v>683</c:v>
                </c:pt>
                <c:pt idx="177">
                  <c:v>729</c:v>
                </c:pt>
                <c:pt idx="178">
                  <c:v>721</c:v>
                </c:pt>
                <c:pt idx="179">
                  <c:v>715</c:v>
                </c:pt>
                <c:pt idx="180">
                  <c:v>742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0</c:v>
                </c:pt>
                <c:pt idx="188">
                  <c:v>917</c:v>
                </c:pt>
                <c:pt idx="189">
                  <c:v>907</c:v>
                </c:pt>
                <c:pt idx="190">
                  <c:v>914</c:v>
                </c:pt>
                <c:pt idx="191">
                  <c:v>917</c:v>
                </c:pt>
                <c:pt idx="192">
                  <c:v>930</c:v>
                </c:pt>
                <c:pt idx="193">
                  <c:v>912</c:v>
                </c:pt>
                <c:pt idx="194">
                  <c:v>939</c:v>
                </c:pt>
                <c:pt idx="195">
                  <c:v>943</c:v>
                </c:pt>
                <c:pt idx="196">
                  <c:v>927</c:v>
                </c:pt>
                <c:pt idx="197">
                  <c:v>926</c:v>
                </c:pt>
                <c:pt idx="198">
                  <c:v>954</c:v>
                </c:pt>
                <c:pt idx="199">
                  <c:v>945</c:v>
                </c:pt>
                <c:pt idx="200">
                  <c:v>941</c:v>
                </c:pt>
                <c:pt idx="201">
                  <c:v>936</c:v>
                </c:pt>
                <c:pt idx="202">
                  <c:v>974</c:v>
                </c:pt>
                <c:pt idx="203">
                  <c:v>933</c:v>
                </c:pt>
                <c:pt idx="204">
                  <c:v>924</c:v>
                </c:pt>
                <c:pt idx="207">
                  <c:v>877</c:v>
                </c:pt>
                <c:pt idx="208">
                  <c:v>863</c:v>
                </c:pt>
                <c:pt idx="209">
                  <c:v>867</c:v>
                </c:pt>
                <c:pt idx="210">
                  <c:v>841</c:v>
                </c:pt>
                <c:pt idx="211">
                  <c:v>812</c:v>
                </c:pt>
                <c:pt idx="212">
                  <c:v>777</c:v>
                </c:pt>
                <c:pt idx="213">
                  <c:v>751</c:v>
                </c:pt>
                <c:pt idx="214">
                  <c:v>711</c:v>
                </c:pt>
                <c:pt idx="215">
                  <c:v>690</c:v>
                </c:pt>
                <c:pt idx="216">
                  <c:v>683</c:v>
                </c:pt>
                <c:pt idx="217">
                  <c:v>6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1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19</c:f>
              <c:numCache>
                <c:formatCode>m/d/yyyy</c:formatCode>
                <c:ptCount val="21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</c:numCache>
            </c:numRef>
          </c:cat>
          <c:val>
            <c:numRef>
              <c:f>Sheet1!$B$2:$B$219</c:f>
              <c:numCache>
                <c:formatCode>#,##0</c:formatCode>
                <c:ptCount val="218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9</c:f>
              <c:numCache>
                <c:formatCode>m/d/yyyy</c:formatCode>
                <c:ptCount val="21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</c:numCache>
            </c:numRef>
          </c:cat>
          <c:val>
            <c:numRef>
              <c:f>Sheet1!$C$2:$C$219</c:f>
              <c:numCache>
                <c:formatCode>#,##0</c:formatCode>
                <c:ptCount val="21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9982829752898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9</c:f>
              <c:numCache>
                <c:formatCode>m/d/yyyy</c:formatCode>
                <c:ptCount val="21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</c:numCache>
            </c:numRef>
          </c:cat>
          <c:val>
            <c:numRef>
              <c:f>Sheet1!$D$2:$D$219</c:f>
              <c:numCache>
                <c:formatCode>#,##0</c:formatCode>
                <c:ptCount val="218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4</c:v>
                </c:pt>
                <c:pt idx="43">
                  <c:v>1320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6</c:v>
                </c:pt>
                <c:pt idx="52">
                  <c:v>2378</c:v>
                </c:pt>
                <c:pt idx="53">
                  <c:v>2493</c:v>
                </c:pt>
                <c:pt idx="54">
                  <c:v>2630</c:v>
                </c:pt>
                <c:pt idx="55">
                  <c:v>2835</c:v>
                </c:pt>
                <c:pt idx="56">
                  <c:v>2971</c:v>
                </c:pt>
                <c:pt idx="57">
                  <c:v>3034</c:v>
                </c:pt>
                <c:pt idx="58">
                  <c:v>3250</c:v>
                </c:pt>
                <c:pt idx="59">
                  <c:v>3296</c:v>
                </c:pt>
                <c:pt idx="60">
                  <c:v>3358</c:v>
                </c:pt>
                <c:pt idx="61">
                  <c:v>3442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4</c:v>
                </c:pt>
                <c:pt idx="66">
                  <c:v>3422</c:v>
                </c:pt>
                <c:pt idx="67">
                  <c:v>3348</c:v>
                </c:pt>
                <c:pt idx="68">
                  <c:v>3354</c:v>
                </c:pt>
                <c:pt idx="69">
                  <c:v>3292</c:v>
                </c:pt>
                <c:pt idx="70">
                  <c:v>3196</c:v>
                </c:pt>
                <c:pt idx="71">
                  <c:v>2968</c:v>
                </c:pt>
                <c:pt idx="72">
                  <c:v>2891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6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5</c:v>
                </c:pt>
                <c:pt idx="89">
                  <c:v>1545</c:v>
                </c:pt>
                <c:pt idx="90">
                  <c:v>1541</c:v>
                </c:pt>
                <c:pt idx="91">
                  <c:v>1531</c:v>
                </c:pt>
                <c:pt idx="92">
                  <c:v>1472</c:v>
                </c:pt>
                <c:pt idx="93">
                  <c:v>1465</c:v>
                </c:pt>
                <c:pt idx="94">
                  <c:v>1495</c:v>
                </c:pt>
                <c:pt idx="95">
                  <c:v>1480</c:v>
                </c:pt>
                <c:pt idx="96">
                  <c:v>1507</c:v>
                </c:pt>
                <c:pt idx="97">
                  <c:v>1556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90</c:v>
                </c:pt>
                <c:pt idx="107">
                  <c:v>1652</c:v>
                </c:pt>
                <c:pt idx="108">
                  <c:v>1655</c:v>
                </c:pt>
                <c:pt idx="109">
                  <c:v>1647</c:v>
                </c:pt>
                <c:pt idx="110">
                  <c:v>1682</c:v>
                </c:pt>
                <c:pt idx="111">
                  <c:v>1682</c:v>
                </c:pt>
                <c:pt idx="112">
                  <c:v>1715</c:v>
                </c:pt>
                <c:pt idx="113">
                  <c:v>1738</c:v>
                </c:pt>
                <c:pt idx="114">
                  <c:v>1646</c:v>
                </c:pt>
                <c:pt idx="115">
                  <c:v>1748</c:v>
                </c:pt>
                <c:pt idx="116">
                  <c:v>1861</c:v>
                </c:pt>
                <c:pt idx="117">
                  <c:v>1985</c:v>
                </c:pt>
                <c:pt idx="118">
                  <c:v>2295</c:v>
                </c:pt>
                <c:pt idx="119">
                  <c:v>2353</c:v>
                </c:pt>
                <c:pt idx="120">
                  <c:v>2477</c:v>
                </c:pt>
                <c:pt idx="121">
                  <c:v>2498</c:v>
                </c:pt>
                <c:pt idx="122">
                  <c:v>2497</c:v>
                </c:pt>
                <c:pt idx="123">
                  <c:v>2683</c:v>
                </c:pt>
                <c:pt idx="124">
                  <c:v>2800</c:v>
                </c:pt>
                <c:pt idx="125">
                  <c:v>3023</c:v>
                </c:pt>
                <c:pt idx="126">
                  <c:v>3051</c:v>
                </c:pt>
                <c:pt idx="127">
                  <c:v>3085</c:v>
                </c:pt>
                <c:pt idx="128">
                  <c:v>3078</c:v>
                </c:pt>
                <c:pt idx="129">
                  <c:v>2934</c:v>
                </c:pt>
                <c:pt idx="130">
                  <c:v>2966</c:v>
                </c:pt>
                <c:pt idx="131">
                  <c:v>2974</c:v>
                </c:pt>
                <c:pt idx="132">
                  <c:v>2977</c:v>
                </c:pt>
                <c:pt idx="133">
                  <c:v>3045</c:v>
                </c:pt>
                <c:pt idx="134">
                  <c:v>2967</c:v>
                </c:pt>
                <c:pt idx="135">
                  <c:v>2927</c:v>
                </c:pt>
                <c:pt idx="136">
                  <c:v>2875</c:v>
                </c:pt>
                <c:pt idx="137">
                  <c:v>2761</c:v>
                </c:pt>
                <c:pt idx="138">
                  <c:v>2747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87</c:v>
                </c:pt>
                <c:pt idx="143">
                  <c:v>2554</c:v>
                </c:pt>
                <c:pt idx="144">
                  <c:v>2519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3</c:v>
                </c:pt>
                <c:pt idx="151">
                  <c:v>2378</c:v>
                </c:pt>
                <c:pt idx="152">
                  <c:v>2374</c:v>
                </c:pt>
                <c:pt idx="153">
                  <c:v>2459</c:v>
                </c:pt>
                <c:pt idx="154">
                  <c:v>2395</c:v>
                </c:pt>
                <c:pt idx="155">
                  <c:v>2417</c:v>
                </c:pt>
                <c:pt idx="156">
                  <c:v>2397</c:v>
                </c:pt>
                <c:pt idx="157">
                  <c:v>2372</c:v>
                </c:pt>
                <c:pt idx="158">
                  <c:v>2352</c:v>
                </c:pt>
                <c:pt idx="159">
                  <c:v>2414</c:v>
                </c:pt>
                <c:pt idx="160">
                  <c:v>2478</c:v>
                </c:pt>
                <c:pt idx="161">
                  <c:v>2492</c:v>
                </c:pt>
                <c:pt idx="162">
                  <c:v>2421</c:v>
                </c:pt>
                <c:pt idx="163">
                  <c:v>2457</c:v>
                </c:pt>
                <c:pt idx="164">
                  <c:v>2409</c:v>
                </c:pt>
                <c:pt idx="165">
                  <c:v>2474</c:v>
                </c:pt>
                <c:pt idx="166">
                  <c:v>2591</c:v>
                </c:pt>
                <c:pt idx="167">
                  <c:v>2624</c:v>
                </c:pt>
                <c:pt idx="168">
                  <c:v>2656</c:v>
                </c:pt>
                <c:pt idx="169">
                  <c:v>2722</c:v>
                </c:pt>
                <c:pt idx="170">
                  <c:v>2763</c:v>
                </c:pt>
                <c:pt idx="171">
                  <c:v>2681</c:v>
                </c:pt>
                <c:pt idx="172">
                  <c:v>2687</c:v>
                </c:pt>
                <c:pt idx="173">
                  <c:v>2810</c:v>
                </c:pt>
                <c:pt idx="174">
                  <c:v>3003</c:v>
                </c:pt>
                <c:pt idx="175">
                  <c:v>3023</c:v>
                </c:pt>
                <c:pt idx="176">
                  <c:v>3036</c:v>
                </c:pt>
                <c:pt idx="177">
                  <c:v>3049</c:v>
                </c:pt>
                <c:pt idx="178">
                  <c:v>3133</c:v>
                </c:pt>
                <c:pt idx="179">
                  <c:v>3240</c:v>
                </c:pt>
                <c:pt idx="180">
                  <c:v>3381</c:v>
                </c:pt>
                <c:pt idx="181">
                  <c:v>3586</c:v>
                </c:pt>
                <c:pt idx="182">
                  <c:v>3630</c:v>
                </c:pt>
                <c:pt idx="183">
                  <c:v>3604</c:v>
                </c:pt>
                <c:pt idx="184">
                  <c:v>3688</c:v>
                </c:pt>
                <c:pt idx="185">
                  <c:v>3710</c:v>
                </c:pt>
                <c:pt idx="186">
                  <c:v>3793</c:v>
                </c:pt>
                <c:pt idx="187">
                  <c:v>3880</c:v>
                </c:pt>
                <c:pt idx="188">
                  <c:v>3926</c:v>
                </c:pt>
                <c:pt idx="189">
                  <c:v>3944</c:v>
                </c:pt>
                <c:pt idx="190">
                  <c:v>3953</c:v>
                </c:pt>
                <c:pt idx="191">
                  <c:v>3928</c:v>
                </c:pt>
                <c:pt idx="192">
                  <c:v>3861</c:v>
                </c:pt>
                <c:pt idx="193">
                  <c:v>3968</c:v>
                </c:pt>
                <c:pt idx="194">
                  <c:v>4037</c:v>
                </c:pt>
                <c:pt idx="195">
                  <c:v>4186</c:v>
                </c:pt>
                <c:pt idx="196">
                  <c:v>4106</c:v>
                </c:pt>
                <c:pt idx="197">
                  <c:v>4031</c:v>
                </c:pt>
                <c:pt idx="198">
                  <c:v>4007</c:v>
                </c:pt>
                <c:pt idx="199">
                  <c:v>3797</c:v>
                </c:pt>
                <c:pt idx="200">
                  <c:v>3723</c:v>
                </c:pt>
                <c:pt idx="201">
                  <c:v>3802</c:v>
                </c:pt>
                <c:pt idx="202">
                  <c:v>3826</c:v>
                </c:pt>
                <c:pt idx="203">
                  <c:v>3696</c:v>
                </c:pt>
                <c:pt idx="204">
                  <c:v>3551</c:v>
                </c:pt>
                <c:pt idx="207">
                  <c:v>3360</c:v>
                </c:pt>
                <c:pt idx="208">
                  <c:v>3390</c:v>
                </c:pt>
                <c:pt idx="209">
                  <c:v>3359</c:v>
                </c:pt>
                <c:pt idx="210">
                  <c:v>3274</c:v>
                </c:pt>
                <c:pt idx="211">
                  <c:v>3146</c:v>
                </c:pt>
                <c:pt idx="212">
                  <c:v>2999</c:v>
                </c:pt>
                <c:pt idx="213">
                  <c:v>2802</c:v>
                </c:pt>
                <c:pt idx="214">
                  <c:v>2742</c:v>
                </c:pt>
                <c:pt idx="215">
                  <c:v>2794</c:v>
                </c:pt>
                <c:pt idx="216">
                  <c:v>2811</c:v>
                </c:pt>
                <c:pt idx="217">
                  <c:v>2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17"/>
              <c:layout>
                <c:manualLayout>
                  <c:x val="-8.4504880832907154E-8"/>
                  <c:y val="1.34717136444061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19</c:f>
              <c:numCache>
                <c:formatCode>m/d/yyyy</c:formatCode>
                <c:ptCount val="21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</c:numCache>
            </c:numRef>
          </c:cat>
          <c:val>
            <c:numRef>
              <c:f>Sheet1!$B$2:$B$219</c:f>
              <c:numCache>
                <c:formatCode>#,##0</c:formatCode>
                <c:ptCount val="218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9</c:f>
              <c:numCache>
                <c:formatCode>m/d/yyyy</c:formatCode>
                <c:ptCount val="21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</c:numCache>
            </c:numRef>
          </c:cat>
          <c:val>
            <c:numRef>
              <c:f>Sheet1!$C$2:$C$219</c:f>
              <c:numCache>
                <c:formatCode>#,##0</c:formatCode>
                <c:ptCount val="21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7.32189404514898E-2"/>
          <c:w val="0.83577340237216891"/>
          <c:h val="0.75590739947131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9</c:f>
              <c:numCache>
                <c:formatCode>m/d/yyyy</c:formatCode>
                <c:ptCount val="21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</c:numCache>
            </c:numRef>
          </c:cat>
          <c:val>
            <c:numRef>
              <c:f>Sheet1!$D$2:$D$219</c:f>
              <c:numCache>
                <c:formatCode>#,##0</c:formatCode>
                <c:ptCount val="218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1</c:v>
                </c:pt>
                <c:pt idx="43">
                  <c:v>477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7</c:v>
                </c:pt>
                <c:pt idx="60">
                  <c:v>1065</c:v>
                </c:pt>
                <c:pt idx="61">
                  <c:v>1113</c:v>
                </c:pt>
                <c:pt idx="62">
                  <c:v>1149</c:v>
                </c:pt>
                <c:pt idx="63">
                  <c:v>1173</c:v>
                </c:pt>
                <c:pt idx="64">
                  <c:v>1160</c:v>
                </c:pt>
                <c:pt idx="65">
                  <c:v>1170</c:v>
                </c:pt>
                <c:pt idx="66">
                  <c:v>1208</c:v>
                </c:pt>
                <c:pt idx="67">
                  <c:v>1154</c:v>
                </c:pt>
                <c:pt idx="68">
                  <c:v>1165</c:v>
                </c:pt>
                <c:pt idx="69">
                  <c:v>1180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4</c:v>
                </c:pt>
                <c:pt idx="91">
                  <c:v>726</c:v>
                </c:pt>
                <c:pt idx="92">
                  <c:v>710</c:v>
                </c:pt>
                <c:pt idx="93">
                  <c:v>712</c:v>
                </c:pt>
                <c:pt idx="94">
                  <c:v>708</c:v>
                </c:pt>
                <c:pt idx="95">
                  <c:v>684</c:v>
                </c:pt>
                <c:pt idx="96">
                  <c:v>671</c:v>
                </c:pt>
                <c:pt idx="97">
                  <c:v>709</c:v>
                </c:pt>
                <c:pt idx="98">
                  <c:v>698</c:v>
                </c:pt>
                <c:pt idx="99">
                  <c:v>684</c:v>
                </c:pt>
                <c:pt idx="100">
                  <c:v>710</c:v>
                </c:pt>
                <c:pt idx="101">
                  <c:v>698</c:v>
                </c:pt>
                <c:pt idx="102">
                  <c:v>694</c:v>
                </c:pt>
                <c:pt idx="103">
                  <c:v>708</c:v>
                </c:pt>
                <c:pt idx="104">
                  <c:v>726</c:v>
                </c:pt>
                <c:pt idx="105">
                  <c:v>722</c:v>
                </c:pt>
                <c:pt idx="106">
                  <c:v>735</c:v>
                </c:pt>
                <c:pt idx="107">
                  <c:v>724</c:v>
                </c:pt>
                <c:pt idx="108">
                  <c:v>726</c:v>
                </c:pt>
                <c:pt idx="109">
                  <c:v>741</c:v>
                </c:pt>
                <c:pt idx="110">
                  <c:v>751</c:v>
                </c:pt>
                <c:pt idx="111">
                  <c:v>761</c:v>
                </c:pt>
                <c:pt idx="112">
                  <c:v>766</c:v>
                </c:pt>
                <c:pt idx="113">
                  <c:v>776</c:v>
                </c:pt>
                <c:pt idx="114">
                  <c:v>745</c:v>
                </c:pt>
                <c:pt idx="115">
                  <c:v>766</c:v>
                </c:pt>
                <c:pt idx="116">
                  <c:v>804</c:v>
                </c:pt>
                <c:pt idx="117">
                  <c:v>845</c:v>
                </c:pt>
                <c:pt idx="118">
                  <c:v>905</c:v>
                </c:pt>
                <c:pt idx="119">
                  <c:v>940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9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70</c:v>
                </c:pt>
                <c:pt idx="135">
                  <c:v>1179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2</c:v>
                </c:pt>
                <c:pt idx="165">
                  <c:v>1106</c:v>
                </c:pt>
                <c:pt idx="166">
                  <c:v>1147</c:v>
                </c:pt>
                <c:pt idx="167">
                  <c:v>1171</c:v>
                </c:pt>
                <c:pt idx="168">
                  <c:v>1215</c:v>
                </c:pt>
                <c:pt idx="169">
                  <c:v>1243</c:v>
                </c:pt>
                <c:pt idx="170">
                  <c:v>1268</c:v>
                </c:pt>
                <c:pt idx="171">
                  <c:v>1271</c:v>
                </c:pt>
                <c:pt idx="172">
                  <c:v>1271</c:v>
                </c:pt>
                <c:pt idx="173">
                  <c:v>1283</c:v>
                </c:pt>
                <c:pt idx="174">
                  <c:v>1365</c:v>
                </c:pt>
                <c:pt idx="175">
                  <c:v>1394</c:v>
                </c:pt>
                <c:pt idx="176">
                  <c:v>1411</c:v>
                </c:pt>
                <c:pt idx="177">
                  <c:v>1464</c:v>
                </c:pt>
                <c:pt idx="178">
                  <c:v>1440</c:v>
                </c:pt>
                <c:pt idx="179">
                  <c:v>1467</c:v>
                </c:pt>
                <c:pt idx="180">
                  <c:v>1505</c:v>
                </c:pt>
                <c:pt idx="181">
                  <c:v>1588</c:v>
                </c:pt>
                <c:pt idx="182">
                  <c:v>1600</c:v>
                </c:pt>
                <c:pt idx="183">
                  <c:v>1626</c:v>
                </c:pt>
                <c:pt idx="184">
                  <c:v>1651</c:v>
                </c:pt>
                <c:pt idx="185">
                  <c:v>1671</c:v>
                </c:pt>
                <c:pt idx="186">
                  <c:v>1674</c:v>
                </c:pt>
                <c:pt idx="187">
                  <c:v>1677</c:v>
                </c:pt>
                <c:pt idx="188">
                  <c:v>1771</c:v>
                </c:pt>
                <c:pt idx="189">
                  <c:v>1798</c:v>
                </c:pt>
                <c:pt idx="190">
                  <c:v>1829</c:v>
                </c:pt>
                <c:pt idx="191">
                  <c:v>1819</c:v>
                </c:pt>
                <c:pt idx="192">
                  <c:v>1836</c:v>
                </c:pt>
                <c:pt idx="193">
                  <c:v>1785</c:v>
                </c:pt>
                <c:pt idx="194">
                  <c:v>1832</c:v>
                </c:pt>
                <c:pt idx="195">
                  <c:v>1890</c:v>
                </c:pt>
                <c:pt idx="196">
                  <c:v>1895</c:v>
                </c:pt>
                <c:pt idx="197">
                  <c:v>1864</c:v>
                </c:pt>
                <c:pt idx="198">
                  <c:v>1864</c:v>
                </c:pt>
                <c:pt idx="199">
                  <c:v>1824</c:v>
                </c:pt>
                <c:pt idx="200">
                  <c:v>1788</c:v>
                </c:pt>
                <c:pt idx="201">
                  <c:v>1811</c:v>
                </c:pt>
                <c:pt idx="202">
                  <c:v>1827</c:v>
                </c:pt>
                <c:pt idx="203">
                  <c:v>1784</c:v>
                </c:pt>
                <c:pt idx="204">
                  <c:v>1751</c:v>
                </c:pt>
                <c:pt idx="207">
                  <c:v>1653</c:v>
                </c:pt>
                <c:pt idx="208">
                  <c:v>1664</c:v>
                </c:pt>
                <c:pt idx="209">
                  <c:v>1672</c:v>
                </c:pt>
                <c:pt idx="210">
                  <c:v>1621</c:v>
                </c:pt>
                <c:pt idx="211">
                  <c:v>1565</c:v>
                </c:pt>
                <c:pt idx="212">
                  <c:v>1500</c:v>
                </c:pt>
                <c:pt idx="213">
                  <c:v>1414</c:v>
                </c:pt>
                <c:pt idx="214">
                  <c:v>1375</c:v>
                </c:pt>
                <c:pt idx="215">
                  <c:v>1327</c:v>
                </c:pt>
                <c:pt idx="216">
                  <c:v>1289</c:v>
                </c:pt>
                <c:pt idx="217">
                  <c:v>13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68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189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1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19</c:f>
              <c:numCache>
                <c:formatCode>m/d/yyyy</c:formatCode>
                <c:ptCount val="21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</c:numCache>
            </c:numRef>
          </c:cat>
          <c:val>
            <c:numRef>
              <c:f>Sheet1!$B$2:$B$219</c:f>
              <c:numCache>
                <c:formatCode>#,##0</c:formatCode>
                <c:ptCount val="218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9</c:f>
              <c:numCache>
                <c:formatCode>m/d/yyyy</c:formatCode>
                <c:ptCount val="21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</c:numCache>
            </c:numRef>
          </c:cat>
          <c:val>
            <c:numRef>
              <c:f>Sheet1!$C$2:$C$219</c:f>
              <c:numCache>
                <c:formatCode>#,##0</c:formatCode>
                <c:ptCount val="21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9</c:f>
              <c:numCache>
                <c:formatCode>m/d/yyyy</c:formatCode>
                <c:ptCount val="21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</c:numCache>
            </c:numRef>
          </c:cat>
          <c:val>
            <c:numRef>
              <c:f>Sheet1!$D$2:$D$219</c:f>
              <c:numCache>
                <c:formatCode>#,##0</c:formatCode>
                <c:ptCount val="21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8</c:v>
                </c:pt>
                <c:pt idx="101">
                  <c:v>9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6</c:v>
                </c:pt>
                <c:pt idx="165">
                  <c:v>17</c:v>
                </c:pt>
                <c:pt idx="166">
                  <c:v>15</c:v>
                </c:pt>
                <c:pt idx="167">
                  <c:v>17</c:v>
                </c:pt>
                <c:pt idx="168">
                  <c:v>18</c:v>
                </c:pt>
                <c:pt idx="169">
                  <c:v>18</c:v>
                </c:pt>
                <c:pt idx="170">
                  <c:v>19</c:v>
                </c:pt>
                <c:pt idx="171">
                  <c:v>17</c:v>
                </c:pt>
                <c:pt idx="172">
                  <c:v>17</c:v>
                </c:pt>
                <c:pt idx="173">
                  <c:v>18</c:v>
                </c:pt>
                <c:pt idx="174">
                  <c:v>22</c:v>
                </c:pt>
                <c:pt idx="175">
                  <c:v>25</c:v>
                </c:pt>
                <c:pt idx="176">
                  <c:v>26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18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6</c:v>
                </c:pt>
                <c:pt idx="213">
                  <c:v>30</c:v>
                </c:pt>
                <c:pt idx="214">
                  <c:v>30</c:v>
                </c:pt>
                <c:pt idx="215">
                  <c:v>31</c:v>
                </c:pt>
                <c:pt idx="216">
                  <c:v>30</c:v>
                </c:pt>
                <c:pt idx="217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1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19</c:f>
              <c:numCache>
                <c:formatCode>m/d/yyyy</c:formatCode>
                <c:ptCount val="21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</c:numCache>
            </c:numRef>
          </c:cat>
          <c:val>
            <c:numRef>
              <c:f>Sheet1!$B$2:$B$219</c:f>
              <c:numCache>
                <c:formatCode>#,##0</c:formatCode>
                <c:ptCount val="218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9</c:f>
              <c:numCache>
                <c:formatCode>m/d/yyyy</c:formatCode>
                <c:ptCount val="21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</c:numCache>
            </c:numRef>
          </c:cat>
          <c:val>
            <c:numRef>
              <c:f>Sheet1!$C$2:$C$219</c:f>
              <c:numCache>
                <c:formatCode>#,##0</c:formatCode>
                <c:ptCount val="21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07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7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5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Relationship Id="rId9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 dirty="0"/>
              <a:t>aktualizace 07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/>
        </p:nvSpPr>
        <p:spPr>
          <a:xfrm>
            <a:off x="1111821" y="1202616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/>
              <a:t>JIP lůžka  vč. reprofilizace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/>
        </p:nvSpPr>
        <p:spPr>
          <a:xfrm>
            <a:off x="7251274" y="1202616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7302358"/>
              </p:ext>
            </p:extLst>
          </p:nvPr>
        </p:nvGraphicFramePr>
        <p:xfrm>
          <a:off x="6045102" y="1186087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0067214"/>
              </p:ext>
            </p:extLst>
          </p:nvPr>
        </p:nvGraphicFramePr>
        <p:xfrm>
          <a:off x="6096000" y="4014235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39915801"/>
              </p:ext>
            </p:extLst>
          </p:nvPr>
        </p:nvGraphicFramePr>
        <p:xfrm>
          <a:off x="390497" y="1202616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79114435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9283192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2661953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56</TotalTime>
  <Words>1043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Zavřel Michal</cp:lastModifiedBy>
  <cp:revision>584</cp:revision>
  <dcterms:created xsi:type="dcterms:W3CDTF">2020-08-08T14:25:07Z</dcterms:created>
  <dcterms:modified xsi:type="dcterms:W3CDTF">2021-04-07T03:44:31Z</dcterms:modified>
</cp:coreProperties>
</file>